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2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3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 Ma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4007AE7-2A85-4412-B1DB-DC05FBAB397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 algn="l" rtl="0" eaLnBrk="1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ficiencia: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50 % menos de paradas de la </a:t>
                      </a:r>
                      <a:r>
                        <a:rPr lang="en-US" sz="1200" b="1" dirty="0" err="1">
                          <a:solidFill>
                            <a:schemeClr val="accent4"/>
                          </a:solidFill>
                          <a:latin typeface="+mn-lt"/>
                        </a:rPr>
                        <a:t>producción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 con un solo operad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ptimización de costos: la reducción de los tiempos de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aro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ignific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un mejor retorno de la inversión (TCO)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eguridad: sistema semiautomatizado, que requiere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o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cione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manuale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encillez y ergonomía: operaciones sin necesidad de herramientas y con un sencillo acceso a las pieza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l Bottle Switch™ patentado de Sidel mejora la flexibilidad de la sopladora al reducir el tiempo para el cambio de moldes a menos de un minuto (disminuye el tiempo de paro a la mitad). Esta solución semiautomática es sencilla para los operadores y no requiere herramientas.</a:t>
                      </a:r>
                      <a:endParaRPr kumimoji="0" lang="es-E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Bottle Switch™ está disponible en 5 paquetes (packs) para adaptarse a las necesidades de los client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El Pack 2 contiene cambio de molde de cuerpo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s-ES" sz="1200" b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/>
              <a:t>Significativa reducción de los tiempos de cambio de forma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Bottle Switch™  Universal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flexibilidad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universal (MM GM TM), </a:t>
            </a:r>
            <a:r>
              <a:rPr lang="es-ES" sz="800" kern="0" dirty="0">
                <a:solidFill>
                  <a:srgbClr val="000000"/>
                </a:solidFill>
              </a:rPr>
              <a:t>en el caso de las máquinas HR, la RFQ es obligatoria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1003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oup 84"/>
          <p:cNvGraphicFramePr>
            <a:graphicFrameLocks noGrp="1"/>
          </p:cNvGraphicFramePr>
          <p:nvPr>
            <p:extLst/>
          </p:nvPr>
        </p:nvGraphicFramePr>
        <p:xfrm>
          <a:off x="777657" y="4223053"/>
          <a:ext cx="3629463" cy="1401768"/>
        </p:xfrm>
        <a:graphic>
          <a:graphicData uri="http://schemas.openxmlformats.org/drawingml/2006/table">
            <a:tbl>
              <a:tblPr/>
              <a:tblGrid>
                <a:gridCol w="199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512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iempo necesario para el cambio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Sin Bottle Switch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Con el Pack 2 de Bottle Switch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iempo necesario por estación (s)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21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3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iempo necesario por estación (min y s)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 min 41 s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 min 03 s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jemplo para una SBO 20 (min y s)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3 min 40 s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1 min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ejora en min vs. estándar  </a:t>
                      </a:r>
                      <a:endParaRPr kumimoji="0" lang="es-ES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 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32 min 40 s</a:t>
                      </a:r>
                      <a:endParaRPr kumimoji="0" lang="es-ES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úmero de operadores necesarios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endParaRPr kumimoji="0" lang="es-ES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1</a:t>
                      </a:r>
                      <a:endParaRPr kumimoji="0" lang="es-ES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Rechteck 11">
            <a:extLst>
              <a:ext uri="{FF2B5EF4-FFF2-40B4-BE49-F238E27FC236}">
                <a16:creationId xmlns:a16="http://schemas.microsoft.com/office/drawing/2014/main" id="{B81DFEBE-57B1-43DD-9B78-D83F080D87B0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344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13</TotalTime>
  <Words>268</Words>
  <Application>Microsoft Office PowerPoint</Application>
  <PresentationFormat>On-screen Show (4:3)</PresentationFormat>
  <Paragraphs>3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Significativa reducción de los tiempos de cambio de forma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21-05-03T07:5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4-10T13:45:49.9530240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03T07:52:19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